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6" r:id="rId3"/>
  </p:sldIdLst>
  <p:sldSz cx="14400213" cy="14400213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36" userDrawn="1">
          <p15:clr>
            <a:srgbClr val="A4A3A4"/>
          </p15:clr>
        </p15:guide>
        <p15:guide id="2" pos="453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AB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49" d="100"/>
          <a:sy n="49" d="100"/>
        </p:scale>
        <p:origin x="2496" y="66"/>
      </p:cViewPr>
      <p:guideLst>
        <p:guide orient="horz" pos="4536"/>
        <p:guide pos="453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80016" y="2356703"/>
            <a:ext cx="12240181" cy="5013407"/>
          </a:xfrm>
        </p:spPr>
        <p:txBody>
          <a:bodyPr anchor="b"/>
          <a:lstStyle>
            <a:lvl1pPr algn="ctr">
              <a:defRPr sz="94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00027" y="7563446"/>
            <a:ext cx="10800160" cy="3476717"/>
          </a:xfrm>
        </p:spPr>
        <p:txBody>
          <a:bodyPr/>
          <a:lstStyle>
            <a:lvl1pPr marL="0" indent="0" algn="ctr">
              <a:buNone/>
              <a:defRPr sz="3780"/>
            </a:lvl1pPr>
            <a:lvl2pPr marL="719999" indent="0" algn="ctr">
              <a:buNone/>
              <a:defRPr sz="3150"/>
            </a:lvl2pPr>
            <a:lvl3pPr marL="1439997" indent="0" algn="ctr">
              <a:buNone/>
              <a:defRPr sz="2835"/>
            </a:lvl3pPr>
            <a:lvl4pPr marL="2159996" indent="0" algn="ctr">
              <a:buNone/>
              <a:defRPr sz="2520"/>
            </a:lvl4pPr>
            <a:lvl5pPr marL="2879994" indent="0" algn="ctr">
              <a:buNone/>
              <a:defRPr sz="2520"/>
            </a:lvl5pPr>
            <a:lvl6pPr marL="3599993" indent="0" algn="ctr">
              <a:buNone/>
              <a:defRPr sz="2520"/>
            </a:lvl6pPr>
            <a:lvl7pPr marL="4319991" indent="0" algn="ctr">
              <a:buNone/>
              <a:defRPr sz="2520"/>
            </a:lvl7pPr>
            <a:lvl8pPr marL="5039990" indent="0" algn="ctr">
              <a:buNone/>
              <a:defRPr sz="2520"/>
            </a:lvl8pPr>
            <a:lvl9pPr marL="5759988" indent="0" algn="ctr">
              <a:buNone/>
              <a:defRPr sz="252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431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740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05153" y="766678"/>
            <a:ext cx="3105046" cy="12203515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015" y="766678"/>
            <a:ext cx="9135135" cy="12203515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662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526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515" y="3590057"/>
            <a:ext cx="12420184" cy="5990088"/>
          </a:xfrm>
        </p:spPr>
        <p:txBody>
          <a:bodyPr anchor="b"/>
          <a:lstStyle>
            <a:lvl1pPr>
              <a:defRPr sz="94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515" y="9636813"/>
            <a:ext cx="12420184" cy="3150046"/>
          </a:xfrm>
        </p:spPr>
        <p:txBody>
          <a:bodyPr/>
          <a:lstStyle>
            <a:lvl1pPr marL="0" indent="0">
              <a:buNone/>
              <a:defRPr sz="3780">
                <a:solidFill>
                  <a:schemeClr val="tx1"/>
                </a:solidFill>
              </a:defRPr>
            </a:lvl1pPr>
            <a:lvl2pPr marL="719999" indent="0">
              <a:buNone/>
              <a:defRPr sz="3150">
                <a:solidFill>
                  <a:schemeClr val="tx1">
                    <a:tint val="75000"/>
                  </a:schemeClr>
                </a:solidFill>
              </a:defRPr>
            </a:lvl2pPr>
            <a:lvl3pPr marL="1439997" indent="0">
              <a:buNone/>
              <a:defRPr sz="2835">
                <a:solidFill>
                  <a:schemeClr val="tx1">
                    <a:tint val="75000"/>
                  </a:schemeClr>
                </a:solidFill>
              </a:defRPr>
            </a:lvl3pPr>
            <a:lvl4pPr marL="2159996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4pPr>
            <a:lvl5pPr marL="2879994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5pPr>
            <a:lvl6pPr marL="3599993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6pPr>
            <a:lvl7pPr marL="4319991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7pPr>
            <a:lvl8pPr marL="503999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8pPr>
            <a:lvl9pPr marL="5759988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93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014" y="3833390"/>
            <a:ext cx="6120091" cy="913680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90108" y="3833390"/>
            <a:ext cx="6120091" cy="913680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601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1890" y="766681"/>
            <a:ext cx="12420184" cy="278337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1892" y="3530053"/>
            <a:ext cx="6091964" cy="1730025"/>
          </a:xfrm>
        </p:spPr>
        <p:txBody>
          <a:bodyPr anchor="b"/>
          <a:lstStyle>
            <a:lvl1pPr marL="0" indent="0">
              <a:buNone/>
              <a:defRPr sz="3780" b="1"/>
            </a:lvl1pPr>
            <a:lvl2pPr marL="719999" indent="0">
              <a:buNone/>
              <a:defRPr sz="3150" b="1"/>
            </a:lvl2pPr>
            <a:lvl3pPr marL="1439997" indent="0">
              <a:buNone/>
              <a:defRPr sz="2835" b="1"/>
            </a:lvl3pPr>
            <a:lvl4pPr marL="2159996" indent="0">
              <a:buNone/>
              <a:defRPr sz="2520" b="1"/>
            </a:lvl4pPr>
            <a:lvl5pPr marL="2879994" indent="0">
              <a:buNone/>
              <a:defRPr sz="2520" b="1"/>
            </a:lvl5pPr>
            <a:lvl6pPr marL="3599993" indent="0">
              <a:buNone/>
              <a:defRPr sz="2520" b="1"/>
            </a:lvl6pPr>
            <a:lvl7pPr marL="4319991" indent="0">
              <a:buNone/>
              <a:defRPr sz="2520" b="1"/>
            </a:lvl7pPr>
            <a:lvl8pPr marL="5039990" indent="0">
              <a:buNone/>
              <a:defRPr sz="2520" b="1"/>
            </a:lvl8pPr>
            <a:lvl9pPr marL="5759988" indent="0">
              <a:buNone/>
              <a:defRPr sz="252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91892" y="5260078"/>
            <a:ext cx="6091964" cy="77367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290109" y="3530053"/>
            <a:ext cx="6121966" cy="1730025"/>
          </a:xfrm>
        </p:spPr>
        <p:txBody>
          <a:bodyPr anchor="b"/>
          <a:lstStyle>
            <a:lvl1pPr marL="0" indent="0">
              <a:buNone/>
              <a:defRPr sz="3780" b="1"/>
            </a:lvl1pPr>
            <a:lvl2pPr marL="719999" indent="0">
              <a:buNone/>
              <a:defRPr sz="3150" b="1"/>
            </a:lvl2pPr>
            <a:lvl3pPr marL="1439997" indent="0">
              <a:buNone/>
              <a:defRPr sz="2835" b="1"/>
            </a:lvl3pPr>
            <a:lvl4pPr marL="2159996" indent="0">
              <a:buNone/>
              <a:defRPr sz="2520" b="1"/>
            </a:lvl4pPr>
            <a:lvl5pPr marL="2879994" indent="0">
              <a:buNone/>
              <a:defRPr sz="2520" b="1"/>
            </a:lvl5pPr>
            <a:lvl6pPr marL="3599993" indent="0">
              <a:buNone/>
              <a:defRPr sz="2520" b="1"/>
            </a:lvl6pPr>
            <a:lvl7pPr marL="4319991" indent="0">
              <a:buNone/>
              <a:defRPr sz="2520" b="1"/>
            </a:lvl7pPr>
            <a:lvl8pPr marL="5039990" indent="0">
              <a:buNone/>
              <a:defRPr sz="2520" b="1"/>
            </a:lvl8pPr>
            <a:lvl9pPr marL="5759988" indent="0">
              <a:buNone/>
              <a:defRPr sz="252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290109" y="5260078"/>
            <a:ext cx="6121966" cy="77367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942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5840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136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1890" y="960014"/>
            <a:ext cx="4644444" cy="3360050"/>
          </a:xfrm>
        </p:spPr>
        <p:txBody>
          <a:bodyPr anchor="b"/>
          <a:lstStyle>
            <a:lvl1pPr>
              <a:defRPr sz="503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1966" y="2073367"/>
            <a:ext cx="7290108" cy="10233485"/>
          </a:xfrm>
        </p:spPr>
        <p:txBody>
          <a:bodyPr/>
          <a:lstStyle>
            <a:lvl1pPr>
              <a:defRPr sz="5039"/>
            </a:lvl1pPr>
            <a:lvl2pPr>
              <a:defRPr sz="4409"/>
            </a:lvl2pPr>
            <a:lvl3pPr>
              <a:defRPr sz="3780"/>
            </a:lvl3pPr>
            <a:lvl4pPr>
              <a:defRPr sz="3150"/>
            </a:lvl4pPr>
            <a:lvl5pPr>
              <a:defRPr sz="3150"/>
            </a:lvl5pPr>
            <a:lvl6pPr>
              <a:defRPr sz="3150"/>
            </a:lvl6pPr>
            <a:lvl7pPr>
              <a:defRPr sz="3150"/>
            </a:lvl7pPr>
            <a:lvl8pPr>
              <a:defRPr sz="3150"/>
            </a:lvl8pPr>
            <a:lvl9pPr>
              <a:defRPr sz="31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91890" y="4320064"/>
            <a:ext cx="4644444" cy="8003453"/>
          </a:xfrm>
        </p:spPr>
        <p:txBody>
          <a:bodyPr/>
          <a:lstStyle>
            <a:lvl1pPr marL="0" indent="0">
              <a:buNone/>
              <a:defRPr sz="2520"/>
            </a:lvl1pPr>
            <a:lvl2pPr marL="719999" indent="0">
              <a:buNone/>
              <a:defRPr sz="2205"/>
            </a:lvl2pPr>
            <a:lvl3pPr marL="1439997" indent="0">
              <a:buNone/>
              <a:defRPr sz="1890"/>
            </a:lvl3pPr>
            <a:lvl4pPr marL="2159996" indent="0">
              <a:buNone/>
              <a:defRPr sz="1575"/>
            </a:lvl4pPr>
            <a:lvl5pPr marL="2879994" indent="0">
              <a:buNone/>
              <a:defRPr sz="1575"/>
            </a:lvl5pPr>
            <a:lvl6pPr marL="3599993" indent="0">
              <a:buNone/>
              <a:defRPr sz="1575"/>
            </a:lvl6pPr>
            <a:lvl7pPr marL="4319991" indent="0">
              <a:buNone/>
              <a:defRPr sz="1575"/>
            </a:lvl7pPr>
            <a:lvl8pPr marL="5039990" indent="0">
              <a:buNone/>
              <a:defRPr sz="1575"/>
            </a:lvl8pPr>
            <a:lvl9pPr marL="5759988" indent="0">
              <a:buNone/>
              <a:defRPr sz="15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7234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1890" y="960014"/>
            <a:ext cx="4644444" cy="3360050"/>
          </a:xfrm>
        </p:spPr>
        <p:txBody>
          <a:bodyPr anchor="b"/>
          <a:lstStyle>
            <a:lvl1pPr>
              <a:defRPr sz="503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121966" y="2073367"/>
            <a:ext cx="7290108" cy="10233485"/>
          </a:xfrm>
        </p:spPr>
        <p:txBody>
          <a:bodyPr anchor="t"/>
          <a:lstStyle>
            <a:lvl1pPr marL="0" indent="0">
              <a:buNone/>
              <a:defRPr sz="5039"/>
            </a:lvl1pPr>
            <a:lvl2pPr marL="719999" indent="0">
              <a:buNone/>
              <a:defRPr sz="4409"/>
            </a:lvl2pPr>
            <a:lvl3pPr marL="1439997" indent="0">
              <a:buNone/>
              <a:defRPr sz="3780"/>
            </a:lvl3pPr>
            <a:lvl4pPr marL="2159996" indent="0">
              <a:buNone/>
              <a:defRPr sz="3150"/>
            </a:lvl4pPr>
            <a:lvl5pPr marL="2879994" indent="0">
              <a:buNone/>
              <a:defRPr sz="3150"/>
            </a:lvl5pPr>
            <a:lvl6pPr marL="3599993" indent="0">
              <a:buNone/>
              <a:defRPr sz="3150"/>
            </a:lvl6pPr>
            <a:lvl7pPr marL="4319991" indent="0">
              <a:buNone/>
              <a:defRPr sz="3150"/>
            </a:lvl7pPr>
            <a:lvl8pPr marL="5039990" indent="0">
              <a:buNone/>
              <a:defRPr sz="3150"/>
            </a:lvl8pPr>
            <a:lvl9pPr marL="5759988" indent="0">
              <a:buNone/>
              <a:defRPr sz="31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91890" y="4320064"/>
            <a:ext cx="4644444" cy="8003453"/>
          </a:xfrm>
        </p:spPr>
        <p:txBody>
          <a:bodyPr/>
          <a:lstStyle>
            <a:lvl1pPr marL="0" indent="0">
              <a:buNone/>
              <a:defRPr sz="2520"/>
            </a:lvl1pPr>
            <a:lvl2pPr marL="719999" indent="0">
              <a:buNone/>
              <a:defRPr sz="2205"/>
            </a:lvl2pPr>
            <a:lvl3pPr marL="1439997" indent="0">
              <a:buNone/>
              <a:defRPr sz="1890"/>
            </a:lvl3pPr>
            <a:lvl4pPr marL="2159996" indent="0">
              <a:buNone/>
              <a:defRPr sz="1575"/>
            </a:lvl4pPr>
            <a:lvl5pPr marL="2879994" indent="0">
              <a:buNone/>
              <a:defRPr sz="1575"/>
            </a:lvl5pPr>
            <a:lvl6pPr marL="3599993" indent="0">
              <a:buNone/>
              <a:defRPr sz="1575"/>
            </a:lvl6pPr>
            <a:lvl7pPr marL="4319991" indent="0">
              <a:buNone/>
              <a:defRPr sz="1575"/>
            </a:lvl7pPr>
            <a:lvl8pPr marL="5039990" indent="0">
              <a:buNone/>
              <a:defRPr sz="1575"/>
            </a:lvl8pPr>
            <a:lvl9pPr marL="5759988" indent="0">
              <a:buNone/>
              <a:defRPr sz="15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08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0015" y="766681"/>
            <a:ext cx="12420184" cy="27833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015" y="3833390"/>
            <a:ext cx="12420184" cy="91368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015" y="13346867"/>
            <a:ext cx="3240048" cy="7666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2EF574-4BF7-442F-A638-31BEEE305A02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70071" y="13346867"/>
            <a:ext cx="4860072" cy="7666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70150" y="13346867"/>
            <a:ext cx="3240048" cy="7666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3F8D2A-260E-42DE-A758-ADBA8D622188}" type="slidenum">
              <a:rPr lang="en-US" smtClean="0"/>
              <a:t>‹Nr.›</a:t>
            </a:fld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EC7947C-C9D2-FAC7-CD8A-31A819C7C9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25585221"/>
              </p:ext>
            </p:extLst>
          </p:nvPr>
        </p:nvGraphicFramePr>
        <p:xfrm>
          <a:off x="1875" y="3335"/>
          <a:ext cx="1876" cy="3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51" imgH="351" progId="TCLayout.ActiveDocument.1">
                  <p:embed/>
                </p:oleObj>
              </mc:Choice>
              <mc:Fallback>
                <p:oleObj name="think-cell Folie" r:id="rId14" imgW="351" imgH="35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B428252-B505-B9D7-FD7E-BC0BF353B2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875" y="3335"/>
                        <a:ext cx="1876" cy="33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1290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439997" rtl="0" eaLnBrk="1" latinLnBrk="0" hangingPunct="1">
        <a:lnSpc>
          <a:spcPct val="90000"/>
        </a:lnSpc>
        <a:spcBef>
          <a:spcPct val="0"/>
        </a:spcBef>
        <a:buNone/>
        <a:defRPr sz="692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999" indent="-359999" algn="l" defTabSz="1439997" rtl="0" eaLnBrk="1" latinLnBrk="0" hangingPunct="1">
        <a:lnSpc>
          <a:spcPct val="90000"/>
        </a:lnSpc>
        <a:spcBef>
          <a:spcPts val="1575"/>
        </a:spcBef>
        <a:buFont typeface="Arial" panose="020B0604020202020204" pitchFamily="34" charset="0"/>
        <a:buChar char="•"/>
        <a:defRPr sz="4409" kern="1200">
          <a:solidFill>
            <a:schemeClr val="tx1"/>
          </a:solidFill>
          <a:latin typeface="+mn-lt"/>
          <a:ea typeface="+mn-ea"/>
          <a:cs typeface="+mn-cs"/>
        </a:defRPr>
      </a:lvl1pPr>
      <a:lvl2pPr marL="1079998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780" kern="1200">
          <a:solidFill>
            <a:schemeClr val="tx1"/>
          </a:solidFill>
          <a:latin typeface="+mn-lt"/>
          <a:ea typeface="+mn-ea"/>
          <a:cs typeface="+mn-cs"/>
        </a:defRPr>
      </a:lvl2pPr>
      <a:lvl3pPr marL="1799996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3pPr>
      <a:lvl4pPr marL="2519995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4pPr>
      <a:lvl5pPr marL="3239994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5pPr>
      <a:lvl6pPr marL="3959992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6pPr>
      <a:lvl7pPr marL="4679991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7pPr>
      <a:lvl8pPr marL="5399989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8pPr>
      <a:lvl9pPr marL="6119988" indent="-359999" algn="l" defTabSz="143999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1pPr>
      <a:lvl2pPr marL="719999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2pPr>
      <a:lvl3pPr marL="1439997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3pPr>
      <a:lvl4pPr marL="2159996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4pPr>
      <a:lvl5pPr marL="2879994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5pPr>
      <a:lvl6pPr marL="3599993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6pPr>
      <a:lvl7pPr marL="4319991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7pPr>
      <a:lvl8pPr marL="5039990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8pPr>
      <a:lvl9pPr marL="5759988" algn="l" defTabSz="1439997" rtl="0" eaLnBrk="1" latinLnBrk="0" hangingPunct="1">
        <a:defRPr sz="28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8AC38CF-A541-DD0D-3108-94FC41825B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89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ADC7156B-D9A5-3F9D-FB5F-33138257332E}"/>
              </a:ext>
            </a:extLst>
          </p:cNvPr>
          <p:cNvSpPr txBox="1"/>
          <p:nvPr/>
        </p:nvSpPr>
        <p:spPr>
          <a:xfrm>
            <a:off x="990600" y="719847"/>
            <a:ext cx="9685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PPO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BAD2724-0155-B7AA-6472-2A633B6769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615924"/>
            <a:ext cx="14400213" cy="12683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8117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2761E31-CB35-8254-08A4-23C2E168B1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627304"/>
              </p:ext>
            </p:extLst>
          </p:nvPr>
        </p:nvGraphicFramePr>
        <p:xfrm>
          <a:off x="1105694" y="377269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05694" y="377269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391678EE-9E2F-E4DD-EBB3-09251D7C07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" y="1026163"/>
            <a:ext cx="14400213" cy="1234788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A7A948E9-3FBC-E440-2193-04F96EAE2B8D}"/>
              </a:ext>
            </a:extLst>
          </p:cNvPr>
          <p:cNvSpPr/>
          <p:nvPr/>
        </p:nvSpPr>
        <p:spPr>
          <a:xfrm>
            <a:off x="1270000" y="5232400"/>
            <a:ext cx="2019300" cy="3860800"/>
          </a:xfrm>
          <a:prstGeom prst="rect">
            <a:avLst/>
          </a:prstGeom>
          <a:noFill/>
          <a:ln>
            <a:solidFill>
              <a:srgbClr val="FFAB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ECC22B0A-BA4E-5F92-9BBF-33114897048C}"/>
                  </a:ext>
                </a:extLst>
              </p:cNvPr>
              <p:cNvSpPr txBox="1"/>
              <p:nvPr/>
            </p:nvSpPr>
            <p:spPr>
              <a:xfrm>
                <a:off x="1577052" y="9079468"/>
                <a:ext cx="147437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800" i="0" dirty="0" smtClean="0">
                          <a:effectLst/>
                          <a:latin typeface="Cambria Math" panose="02040503050406030204" pitchFamily="18" charset="0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m:t>Θ</m:t>
                      </m:r>
                      <m:r>
                        <a:rPr lang="en-US" i="1" dirty="0" smtClean="0">
                          <a:latin typeface="Cambria Math" panose="02040503050406030204" pitchFamily="18" charset="0"/>
                        </a:rPr>
                        <m:t>=1</m:t>
                      </m:r>
                      <m:r>
                        <a:rPr lang="de-DE" b="0" i="1" dirty="0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de-DE" b="0" i="1" dirty="0" smtClean="0">
                          <a:latin typeface="Cambria Math" panose="02040503050406030204" pitchFamily="18" charset="0"/>
                        </a:rPr>
                        <m:t>𝑑</m:t>
                      </m:r>
                      <m:r>
                        <a:rPr lang="de-DE" b="0" i="1" dirty="0" smtClean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ECC22B0A-BA4E-5F92-9BBF-3311489704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77052" y="9079468"/>
                <a:ext cx="1474378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1E264E04-1538-0803-BCE0-DB2B9D4A63B6}"/>
              </a:ext>
            </a:extLst>
          </p:cNvPr>
          <p:cNvSpPr/>
          <p:nvPr/>
        </p:nvSpPr>
        <p:spPr>
          <a:xfrm>
            <a:off x="990600" y="5232400"/>
            <a:ext cx="241300" cy="3860800"/>
          </a:xfrm>
          <a:prstGeom prst="triangle">
            <a:avLst/>
          </a:prstGeom>
          <a:solidFill>
            <a:srgbClr val="F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44343D0B-4DC4-6743-1685-ABE936483EC8}"/>
                  </a:ext>
                </a:extLst>
              </p:cNvPr>
              <p:cNvSpPr txBox="1"/>
              <p:nvPr/>
            </p:nvSpPr>
            <p:spPr>
              <a:xfrm>
                <a:off x="990600" y="8723868"/>
                <a:ext cx="33304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𝐼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44343D0B-4DC4-6743-1685-ABE936483E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0600" y="8723868"/>
                <a:ext cx="333040" cy="3693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Gleichschenkliges Dreieck 10">
            <a:extLst>
              <a:ext uri="{FF2B5EF4-FFF2-40B4-BE49-F238E27FC236}">
                <a16:creationId xmlns:a16="http://schemas.microsoft.com/office/drawing/2014/main" id="{73F49BA2-2D13-381C-90BF-ACB4AD9AF6B8}"/>
              </a:ext>
            </a:extLst>
          </p:cNvPr>
          <p:cNvSpPr/>
          <p:nvPr/>
        </p:nvSpPr>
        <p:spPr>
          <a:xfrm rot="16200000">
            <a:off x="2159000" y="4051300"/>
            <a:ext cx="241300" cy="2019300"/>
          </a:xfrm>
          <a:prstGeom prst="triangle">
            <a:avLst/>
          </a:prstGeom>
          <a:solidFill>
            <a:srgbClr val="FF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38DC1FA8-1E70-FDA4-CA09-686E3127DD96}"/>
                  </a:ext>
                </a:extLst>
              </p:cNvPr>
              <p:cNvSpPr txBox="1"/>
              <p:nvPr/>
            </p:nvSpPr>
            <p:spPr>
              <a:xfrm>
                <a:off x="3005408" y="4876284"/>
                <a:ext cx="35560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h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38DC1FA8-1E70-FDA4-CA09-686E3127DD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05408" y="4876284"/>
                <a:ext cx="355600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feld 1">
            <a:extLst>
              <a:ext uri="{FF2B5EF4-FFF2-40B4-BE49-F238E27FC236}">
                <a16:creationId xmlns:a16="http://schemas.microsoft.com/office/drawing/2014/main" id="{D8BC2389-F773-75B0-3251-54CE2C1A0293}"/>
              </a:ext>
            </a:extLst>
          </p:cNvPr>
          <p:cNvSpPr txBox="1"/>
          <p:nvPr/>
        </p:nvSpPr>
        <p:spPr>
          <a:xfrm>
            <a:off x="990600" y="719847"/>
            <a:ext cx="10775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DQN</a:t>
            </a:r>
          </a:p>
        </p:txBody>
      </p:sp>
    </p:spTree>
    <p:extLst>
      <p:ext uri="{BB962C8B-B14F-4D97-AF65-F5344CB8AC3E}">
        <p14:creationId xmlns:p14="http://schemas.microsoft.com/office/powerpoint/2010/main" val="2516322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1</Words>
  <Application>Microsoft Office PowerPoint</Application>
  <PresentationFormat>Benutzerdefiniert</PresentationFormat>
  <Paragraphs>5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Cambria Math</vt:lpstr>
      <vt:lpstr>Office</vt:lpstr>
      <vt:lpstr>think-cell Folie</vt:lpstr>
      <vt:lpstr>PowerPoint-Präsentation</vt:lpstr>
      <vt:lpstr>PowerPoint-Präsentation</vt:lpstr>
    </vt:vector>
  </TitlesOfParts>
  <Company>WWU Muens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evin Wesendrup</dc:creator>
  <cp:lastModifiedBy>Kevin Wesendrup</cp:lastModifiedBy>
  <cp:revision>6</cp:revision>
  <dcterms:created xsi:type="dcterms:W3CDTF">2022-05-30T12:21:08Z</dcterms:created>
  <dcterms:modified xsi:type="dcterms:W3CDTF">2022-06-07T10:17:25Z</dcterms:modified>
</cp:coreProperties>
</file>